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1.xml" ContentType="application/vnd.openxmlformats-officedocument.themeOverride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96" r:id="rId1"/>
  </p:sldMasterIdLst>
  <p:notesMasterIdLst>
    <p:notesMasterId r:id="rId8"/>
  </p:notesMasterIdLst>
  <p:handoutMasterIdLst>
    <p:handoutMasterId r:id="rId9"/>
  </p:handoutMasterIdLst>
  <p:sldIdLst>
    <p:sldId id="304" r:id="rId2"/>
    <p:sldId id="309" r:id="rId3"/>
    <p:sldId id="335" r:id="rId4"/>
    <p:sldId id="336" r:id="rId5"/>
    <p:sldId id="337" r:id="rId6"/>
    <p:sldId id="275" r:id="rId7"/>
  </p:sldIdLst>
  <p:sldSz cx="9144000" cy="6858000" type="screen4x3"/>
  <p:notesSz cx="6805613" cy="99393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8625" indent="2857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8838" indent="55563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050" indent="8255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7675" indent="11112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sgupta, Tania" initials="" lastIdx="3" clrIdx="0"/>
  <p:cmAuthor id="1" name="Ghosh, Dipankar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DE"/>
    <a:srgbClr val="002776"/>
    <a:srgbClr val="92D400"/>
    <a:srgbClr val="8099CC"/>
    <a:srgbClr val="7BCE6C"/>
    <a:srgbClr val="A4D400"/>
    <a:srgbClr val="72C7E7"/>
    <a:srgbClr val="C9DD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45" autoAdjust="0"/>
    <p:restoredTop sz="90746" autoAdjust="0"/>
  </p:normalViewPr>
  <p:slideViewPr>
    <p:cSldViewPr snapToObjects="1">
      <p:cViewPr>
        <p:scale>
          <a:sx n="90" d="100"/>
          <a:sy n="90" d="100"/>
        </p:scale>
        <p:origin x="-1026" y="216"/>
      </p:cViewPr>
      <p:guideLst>
        <p:guide orient="horz" pos="3975"/>
        <p:guide orient="horz" pos="3249"/>
        <p:guide orient="horz" pos="845"/>
        <p:guide orient="horz" pos="572"/>
        <p:guide orient="horz" pos="187"/>
        <p:guide pos="5510"/>
        <p:guide pos="25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7" d="100"/>
          <a:sy n="67" d="100"/>
        </p:scale>
        <p:origin x="-2376" y="-10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496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607" tIns="31804" rIns="63607" bIns="31804" numCol="1" anchor="t" anchorCtr="0" compatLnSpc="1">
            <a:prstTxWarp prst="textNoShape">
              <a:avLst/>
            </a:prstTxWarp>
          </a:bodyPr>
          <a:lstStyle>
            <a:lvl1pPr defTabSz="636653">
              <a:defRPr sz="8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5985" y="0"/>
            <a:ext cx="29480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607" tIns="31804" rIns="63607" bIns="31804" numCol="1" anchor="t" anchorCtr="0" compatLnSpc="1">
            <a:prstTxWarp prst="textNoShape">
              <a:avLst/>
            </a:prstTxWarp>
          </a:bodyPr>
          <a:lstStyle>
            <a:lvl1pPr algn="r" defTabSz="636653">
              <a:defRPr sz="800"/>
            </a:lvl1pPr>
          </a:lstStyle>
          <a:p>
            <a:pPr>
              <a:defRPr/>
            </a:pPr>
            <a:fld id="{7BB5D430-323E-477D-9AD7-5F6C5178DC9D}" type="datetimeFigureOut">
              <a:rPr lang="en-US"/>
              <a:pPr>
                <a:defRPr/>
              </a:pPr>
              <a:t>9/18/201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779"/>
            <a:ext cx="29496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607" tIns="31804" rIns="63607" bIns="31804" numCol="1" anchor="b" anchorCtr="0" compatLnSpc="1">
            <a:prstTxWarp prst="textNoShape">
              <a:avLst/>
            </a:prstTxWarp>
          </a:bodyPr>
          <a:lstStyle>
            <a:lvl1pPr defTabSz="636653">
              <a:defRPr sz="8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5985" y="9440779"/>
            <a:ext cx="29480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607" tIns="31804" rIns="63607" bIns="31804" numCol="1" anchor="b" anchorCtr="0" compatLnSpc="1">
            <a:prstTxWarp prst="textNoShape">
              <a:avLst/>
            </a:prstTxWarp>
          </a:bodyPr>
          <a:lstStyle>
            <a:lvl1pPr algn="r" defTabSz="636653">
              <a:defRPr sz="800"/>
            </a:lvl1pPr>
          </a:lstStyle>
          <a:p>
            <a:pPr>
              <a:defRPr/>
            </a:pPr>
            <a:fld id="{766A3E6B-855E-4B5C-8857-F47F91B7045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5554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496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975" tIns="48488" rIns="96975" bIns="48488" numCol="1" anchor="t" anchorCtr="0" compatLnSpc="1">
            <a:prstTxWarp prst="textNoShape">
              <a:avLst/>
            </a:prstTxWarp>
          </a:bodyPr>
          <a:lstStyle>
            <a:lvl1pPr defTabSz="6366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5985" y="0"/>
            <a:ext cx="29480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975" tIns="48488" rIns="96975" bIns="48488" numCol="1" anchor="t" anchorCtr="0" compatLnSpc="1">
            <a:prstTxWarp prst="textNoShape">
              <a:avLst/>
            </a:prstTxWarp>
          </a:bodyPr>
          <a:lstStyle>
            <a:lvl1pPr algn="r" defTabSz="6366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40322BD-6929-4549-A164-805E04F5B908}" type="datetimeFigureOut">
              <a:rPr lang="en-US"/>
              <a:pPr>
                <a:defRPr/>
              </a:pPr>
              <a:t>9/18/201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754" tIns="69878" rIns="139754" bIns="69878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562" y="4721186"/>
            <a:ext cx="5444490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975" tIns="48488" rIns="96975" bIns="484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779"/>
            <a:ext cx="294962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975" tIns="48488" rIns="96975" bIns="48488" numCol="1" anchor="b" anchorCtr="0" compatLnSpc="1">
            <a:prstTxWarp prst="textNoShape">
              <a:avLst/>
            </a:prstTxWarp>
          </a:bodyPr>
          <a:lstStyle>
            <a:lvl1pPr defTabSz="6366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5985" y="9440779"/>
            <a:ext cx="29480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975" tIns="48488" rIns="96975" bIns="48488" numCol="1" anchor="b" anchorCtr="0" compatLnSpc="1">
            <a:prstTxWarp prst="textNoShape">
              <a:avLst/>
            </a:prstTxWarp>
          </a:bodyPr>
          <a:lstStyle>
            <a:lvl1pPr algn="r" defTabSz="6366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89918BE-D5E2-4464-B8BD-8FFB16A748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62611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780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536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291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048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93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093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9195" indent="-229195">
              <a:buFontTx/>
              <a:buChar char="-"/>
            </a:pPr>
            <a:endParaRPr lang="nl-NL" dirty="0" smtClean="0">
              <a:sym typeface="Wingdings" pitchFamily="2" charset="2"/>
            </a:endParaRPr>
          </a:p>
        </p:txBody>
      </p:sp>
      <p:sp>
        <p:nvSpPr>
          <p:cNvPr id="12093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F8B8578-DB54-4990-8BC0-B38225B5A153}" type="slidenum">
              <a:rPr lang="en-GB" smtClean="0"/>
              <a:pPr/>
              <a:t>0</a:t>
            </a:fld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5105" name="Rectangle 7"/>
          <p:cNvSpPr txBox="1">
            <a:spLocks noGrp="1" noChangeArrowheads="1"/>
          </p:cNvSpPr>
          <p:nvPr/>
        </p:nvSpPr>
        <p:spPr bwMode="auto">
          <a:xfrm>
            <a:off x="357773" y="9501307"/>
            <a:ext cx="157277" cy="184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defTabSz="636653"/>
            <a:fld id="{C77184CA-8BE2-4592-998D-998D906F8171}" type="slidenum">
              <a:rPr lang="en-GB" sz="1200">
                <a:latin typeface="Calibri" pitchFamily="34" charset="0"/>
              </a:rPr>
              <a:pPr defTabSz="636653"/>
              <a:t>5</a:t>
            </a:fld>
            <a:endParaRPr lang="en-GB" sz="1200" dirty="0">
              <a:latin typeface="Calibri" pitchFamily="34" charset="0"/>
            </a:endParaRPr>
          </a:p>
        </p:txBody>
      </p:sp>
      <p:sp>
        <p:nvSpPr>
          <p:cNvPr id="1455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61963" y="393700"/>
            <a:ext cx="5864225" cy="43989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5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7772" y="4893213"/>
            <a:ext cx="6074169" cy="4498187"/>
          </a:xfrm>
          <a:noFill/>
          <a:ln/>
        </p:spPr>
        <p:txBody>
          <a:bodyPr/>
          <a:lstStyle/>
          <a:p>
            <a:pPr marL="229195" indent="-229195" eaLnBrk="1" hangingPunct="1">
              <a:spcBef>
                <a:spcPct val="0"/>
              </a:spcBef>
            </a:pPr>
            <a:endParaRPr lang="tr-T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1.jpe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4.bin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oleObject" Target="../embeddings/oleObject5.bin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-1157288" y="0"/>
            <a:ext cx="955675" cy="3889375"/>
            <a:chOff x="-1253505" y="0"/>
            <a:chExt cx="1035794" cy="3889829"/>
          </a:xfrm>
        </p:grpSpPr>
        <p:sp>
          <p:nvSpPr>
            <p:cNvPr id="5" name="Rectangle 27"/>
            <p:cNvSpPr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-1253505" y="0"/>
              <a:ext cx="1035794" cy="388982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>
                <a:defRPr/>
              </a:pPr>
              <a:r>
                <a:rPr lang="en-GB" sz="1000" b="1">
                  <a:solidFill>
                    <a:schemeClr val="tx2"/>
                  </a:solidFill>
                </a:rPr>
                <a:t>Primary colors</a:t>
              </a:r>
            </a:p>
          </p:txBody>
        </p:sp>
        <p:grpSp>
          <p:nvGrpSpPr>
            <p:cNvPr id="6" name="Group 50"/>
            <p:cNvGrpSpPr>
              <a:grpSpLocks/>
            </p:cNvGrpSpPr>
            <p:nvPr userDrawn="1"/>
          </p:nvGrpSpPr>
          <p:grpSpPr bwMode="auto">
            <a:xfrm>
              <a:off x="-967887" y="180996"/>
              <a:ext cx="464559" cy="585856"/>
              <a:chOff x="12661026" y="-1313976"/>
              <a:chExt cx="464559" cy="585856"/>
            </a:xfrm>
          </p:grpSpPr>
          <p:sp>
            <p:nvSpPr>
              <p:cNvPr id="22" name="Rectangle 25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12661026" y="-1313976"/>
                <a:ext cx="464559" cy="585856"/>
              </a:xfrm>
              <a:prstGeom prst="rect">
                <a:avLst/>
              </a:prstGeom>
              <a:solidFill>
                <a:srgbClr val="00277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Rectangle 14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12726408" y="-1252056"/>
                <a:ext cx="361324" cy="462016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G 39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B 118</a:t>
                </a:r>
              </a:p>
            </p:txBody>
          </p:sp>
        </p:grpSp>
        <p:grpSp>
          <p:nvGrpSpPr>
            <p:cNvPr id="7" name="Group 52"/>
            <p:cNvGrpSpPr>
              <a:grpSpLocks/>
            </p:cNvGrpSpPr>
            <p:nvPr userDrawn="1"/>
          </p:nvGrpSpPr>
          <p:grpSpPr bwMode="auto">
            <a:xfrm>
              <a:off x="-967887" y="1414628"/>
              <a:ext cx="464559" cy="584268"/>
              <a:chOff x="12661026" y="59430"/>
              <a:chExt cx="464559" cy="584268"/>
            </a:xfrm>
          </p:grpSpPr>
          <p:sp>
            <p:nvSpPr>
              <p:cNvPr id="20" name="Rectangle 25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12661026" y="59430"/>
                <a:ext cx="464559" cy="584268"/>
              </a:xfrm>
              <a:prstGeom prst="rect">
                <a:avLst/>
              </a:prstGeom>
              <a:solidFill>
                <a:schemeClr val="accent3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" name="Rectangle 16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12719526" y="110236"/>
                <a:ext cx="376810" cy="46042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G 16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B 222</a:t>
                </a:r>
              </a:p>
            </p:txBody>
          </p:sp>
        </p:grpSp>
        <p:grpSp>
          <p:nvGrpSpPr>
            <p:cNvPr id="8" name="Group 53"/>
            <p:cNvGrpSpPr>
              <a:grpSpLocks/>
            </p:cNvGrpSpPr>
            <p:nvPr userDrawn="1"/>
          </p:nvGrpSpPr>
          <p:grpSpPr bwMode="auto">
            <a:xfrm>
              <a:off x="-967887" y="2030650"/>
              <a:ext cx="464559" cy="584268"/>
              <a:chOff x="12661026" y="853322"/>
              <a:chExt cx="464559" cy="584268"/>
            </a:xfrm>
          </p:grpSpPr>
          <p:sp>
            <p:nvSpPr>
              <p:cNvPr id="18" name="Rectangle 25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12661026" y="853322"/>
                <a:ext cx="464559" cy="584268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12719526" y="915241"/>
                <a:ext cx="376810" cy="46042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R 6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G 138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B 46</a:t>
                </a:r>
              </a:p>
            </p:txBody>
          </p:sp>
        </p:grpSp>
        <p:grpSp>
          <p:nvGrpSpPr>
            <p:cNvPr id="9" name="Group 54"/>
            <p:cNvGrpSpPr>
              <a:grpSpLocks/>
            </p:cNvGrpSpPr>
            <p:nvPr userDrawn="1"/>
          </p:nvGrpSpPr>
          <p:grpSpPr bwMode="auto">
            <a:xfrm>
              <a:off x="-967887" y="2646672"/>
              <a:ext cx="464559" cy="585855"/>
              <a:chOff x="12661026" y="1513377"/>
              <a:chExt cx="464559" cy="585855"/>
            </a:xfrm>
          </p:grpSpPr>
          <p:sp>
            <p:nvSpPr>
              <p:cNvPr id="16" name="Rectangle 25"/>
              <p:cNvSpPr>
                <a:spLocks noChangeArrowheads="1"/>
              </p:cNvSpPr>
              <p:nvPr userDrawn="1">
                <p:custDataLst>
                  <p:tags r:id="rId9"/>
                </p:custDataLst>
              </p:nvPr>
            </p:nvSpPr>
            <p:spPr bwMode="auto">
              <a:xfrm>
                <a:off x="12661026" y="1513377"/>
                <a:ext cx="464559" cy="585855"/>
              </a:xfrm>
              <a:prstGeom prst="rect">
                <a:avLst/>
              </a:prstGeom>
              <a:solidFill>
                <a:schemeClr val="accent5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12719526" y="1575296"/>
                <a:ext cx="376810" cy="46201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R 11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G 199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B 231</a:t>
                </a:r>
              </a:p>
            </p:txBody>
          </p:sp>
        </p:grpSp>
        <p:grpSp>
          <p:nvGrpSpPr>
            <p:cNvPr id="10" name="Group 55"/>
            <p:cNvGrpSpPr>
              <a:grpSpLocks/>
            </p:cNvGrpSpPr>
            <p:nvPr userDrawn="1"/>
          </p:nvGrpSpPr>
          <p:grpSpPr bwMode="auto">
            <a:xfrm>
              <a:off x="-967887" y="3262694"/>
              <a:ext cx="464559" cy="585855"/>
              <a:chOff x="12661026" y="2333768"/>
              <a:chExt cx="464559" cy="585855"/>
            </a:xfrm>
          </p:grpSpPr>
          <p:sp>
            <p:nvSpPr>
              <p:cNvPr id="14" name="Rectangle 25"/>
              <p:cNvSpPr>
                <a:spLocks noChangeArrowheads="1"/>
              </p:cNvSpPr>
              <p:nvPr userDrawn="1">
                <p:custDataLst>
                  <p:tags r:id="rId7"/>
                </p:custDataLst>
              </p:nvPr>
            </p:nvSpPr>
            <p:spPr bwMode="auto">
              <a:xfrm>
                <a:off x="12661026" y="2333768"/>
                <a:ext cx="464559" cy="585855"/>
              </a:xfrm>
              <a:prstGeom prst="rect">
                <a:avLst/>
              </a:prstGeom>
              <a:solidFill>
                <a:schemeClr val="accent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" name="Rectangle 19"/>
              <p:cNvSpPr>
                <a:spLocks noChangeArrowheads="1"/>
              </p:cNvSpPr>
              <p:nvPr userDrawn="1">
                <p:custDataLst>
                  <p:tags r:id="rId8"/>
                </p:custDataLst>
              </p:nvPr>
            </p:nvSpPr>
            <p:spPr bwMode="auto">
              <a:xfrm>
                <a:off x="12719526" y="2395687"/>
                <a:ext cx="376810" cy="46201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R 20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G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2"/>
                    </a:solidFill>
                  </a:rPr>
                  <a:t>B 3</a:t>
                </a:r>
              </a:p>
            </p:txBody>
          </p:sp>
        </p:grpSp>
        <p:grpSp>
          <p:nvGrpSpPr>
            <p:cNvPr id="11" name="Group 51"/>
            <p:cNvGrpSpPr>
              <a:grpSpLocks/>
            </p:cNvGrpSpPr>
            <p:nvPr userDrawn="1"/>
          </p:nvGrpSpPr>
          <p:grpSpPr bwMode="auto">
            <a:xfrm>
              <a:off x="-967887" y="798606"/>
              <a:ext cx="464559" cy="584268"/>
              <a:chOff x="12661026" y="-640070"/>
              <a:chExt cx="464559" cy="584268"/>
            </a:xfrm>
          </p:grpSpPr>
          <p:sp>
            <p:nvSpPr>
              <p:cNvPr id="12" name="Rectangle 25"/>
              <p:cNvSpPr>
                <a:spLocks noChangeArrowheads="1"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661026" y="-640070"/>
                <a:ext cx="464559" cy="584268"/>
              </a:xfrm>
              <a:prstGeom prst="rect">
                <a:avLst/>
              </a:prstGeom>
              <a:solidFill>
                <a:schemeClr val="accent2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" name="Rectangle 15"/>
              <p:cNvSpPr>
                <a:spLocks noChangeArrowheads="1"/>
              </p:cNvSpPr>
              <p:nvPr userDrawn="1">
                <p:custDataLst>
                  <p:tags r:id="rId6"/>
                </p:custDataLst>
              </p:nvPr>
            </p:nvSpPr>
            <p:spPr bwMode="auto">
              <a:xfrm>
                <a:off x="12719526" y="-578151"/>
                <a:ext cx="376810" cy="46042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R 14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G 21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2"/>
                    </a:solidFill>
                  </a:rPr>
                  <a:t>B 0</a:t>
                </a:r>
              </a:p>
            </p:txBody>
          </p:sp>
        </p:grpSp>
      </p:grpSp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270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5" descr="DEL_PRI_RGB"/>
          <p:cNvPicPr>
            <a:picLocks noChangeArrowheads="1"/>
          </p:cNvPicPr>
          <p:nvPr userDrawn="1"/>
        </p:nvPicPr>
        <p:blipFill>
          <a:blip r:embed="rId19" cstate="print"/>
          <a:srcRect l="7785" t="27351" r="9871" b="25598"/>
          <a:stretch>
            <a:fillRect/>
          </a:stretch>
        </p:blipFill>
        <p:spPr bwMode="auto">
          <a:xfrm>
            <a:off x="315913" y="287338"/>
            <a:ext cx="234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2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chemeClr val="tx2"/>
                </a:solidFill>
              </a:rPr>
              <a:t>© </a:t>
            </a:r>
            <a:r>
              <a:rPr lang="en-US" sz="800" dirty="0" smtClean="0">
                <a:solidFill>
                  <a:schemeClr val="tx2"/>
                </a:solidFill>
              </a:rPr>
              <a:t>2013 </a:t>
            </a:r>
            <a:r>
              <a:rPr lang="en-US" sz="800" dirty="0">
                <a:solidFill>
                  <a:schemeClr val="tx2"/>
                </a:solidFill>
              </a:rPr>
              <a:t>Deloitte Touche Tohmatsu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4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FACDE-FD9D-4E8D-A818-0E4F8E5CEA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1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chemeClr val="tx2"/>
                </a:solidFill>
              </a:rPr>
              <a:t>© </a:t>
            </a:r>
            <a:r>
              <a:rPr lang="en-US" sz="800" dirty="0" smtClean="0">
                <a:solidFill>
                  <a:schemeClr val="tx2"/>
                </a:solidFill>
              </a:rPr>
              <a:t>2013 </a:t>
            </a:r>
            <a:r>
              <a:rPr lang="en-US" sz="800" dirty="0">
                <a:solidFill>
                  <a:schemeClr val="tx2"/>
                </a:solidFill>
              </a:rPr>
              <a:t>Deloitte Touche Tohmatsu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5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CC7C00-4F58-4A99-9FCE-99CB557980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chemeClr val="tx2"/>
                </a:solidFill>
              </a:rPr>
              <a:t>© </a:t>
            </a:r>
            <a:r>
              <a:rPr lang="en-US" sz="800" dirty="0" smtClean="0">
                <a:solidFill>
                  <a:schemeClr val="tx2"/>
                </a:solidFill>
              </a:rPr>
              <a:t>2013 </a:t>
            </a:r>
            <a:r>
              <a:rPr lang="en-US" sz="800" dirty="0">
                <a:solidFill>
                  <a:schemeClr val="tx2"/>
                </a:solidFill>
              </a:rPr>
              <a:t>Deloitte Touche Tohmats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56C48-5F9A-488A-A752-D8208EB744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6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415925" y="6554788"/>
            <a:ext cx="282575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7C9FCE8-82EE-4F77-B589-A7204BF37B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771525" y="6554788"/>
            <a:ext cx="431800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chemeClr val="tx2"/>
                </a:solidFill>
              </a:rPr>
              <a:t>© </a:t>
            </a:r>
            <a:r>
              <a:rPr lang="en-US" sz="800" dirty="0" smtClean="0">
                <a:solidFill>
                  <a:schemeClr val="tx2"/>
                </a:solidFill>
              </a:rPr>
              <a:t>2013 </a:t>
            </a:r>
            <a:r>
              <a:rPr lang="en-US" sz="800" dirty="0">
                <a:solidFill>
                  <a:schemeClr val="tx2"/>
                </a:solidFill>
              </a:rPr>
              <a:t>Deloitte Touche Tohmatsu</a:t>
            </a:r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396875" y="300038"/>
            <a:ext cx="835025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</p:sldLayoutIdLst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6" name="Subtitle 9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auto">
          <a:xfrm>
            <a:off x="396875" y="6098139"/>
            <a:ext cx="4740275" cy="212174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tr-TR" dirty="0" smtClean="0"/>
              <a:t>Eylül 2014 / Ankara</a:t>
            </a:r>
            <a:endParaRPr lang="nl-NL" dirty="0"/>
          </a:p>
        </p:txBody>
      </p:sp>
      <p:sp>
        <p:nvSpPr>
          <p:cNvPr id="180227" name="Title 12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539552" y="1772817"/>
            <a:ext cx="7848872" cy="2160240"/>
          </a:xfrm>
        </p:spPr>
        <p:txBody>
          <a:bodyPr/>
          <a:lstStyle/>
          <a:p>
            <a:pPr algn="ctr" defTabSz="957263"/>
            <a:r>
              <a:rPr lang="tr-TR" b="1" dirty="0" smtClean="0"/>
              <a:t/>
            </a:r>
            <a:br>
              <a:rPr lang="tr-TR" b="1" dirty="0" smtClean="0"/>
            </a:br>
            <a:r>
              <a:rPr lang="tr-TR" b="1" dirty="0" smtClean="0"/>
              <a:t>MUHASEBECİLİK </a:t>
            </a:r>
            <a:r>
              <a:rPr lang="tr-TR" b="1" dirty="0"/>
              <a:t>MESLEĞİNİN UZMANLIK ALANLARI </a:t>
            </a:r>
            <a:r>
              <a:rPr lang="tr-TR" b="1" dirty="0" smtClean="0"/>
              <a:t/>
            </a:r>
            <a:br>
              <a:rPr lang="tr-TR" b="1" dirty="0" smtClean="0"/>
            </a:br>
            <a:r>
              <a:rPr lang="tr-TR" b="1" dirty="0" smtClean="0"/>
              <a:t>&amp;</a:t>
            </a:r>
            <a:br>
              <a:rPr lang="tr-TR" b="1" dirty="0" smtClean="0"/>
            </a:br>
            <a:r>
              <a:rPr lang="tr-TR" b="1" dirty="0" smtClean="0"/>
              <a:t> </a:t>
            </a:r>
            <a:r>
              <a:rPr lang="tr-TR" b="1" dirty="0"/>
              <a:t>TÜRKİYE UYGULAMALARI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tr-TR" dirty="0" smtClean="0"/>
              <a:t/>
            </a:r>
            <a:br>
              <a:rPr lang="tr-TR" dirty="0" smtClean="0"/>
            </a:br>
            <a:r>
              <a:rPr lang="tr-TR" dirty="0"/>
              <a:t/>
            </a:r>
            <a:br>
              <a:rPr lang="tr-TR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tr-TR" dirty="0" smtClean="0">
                <a:solidFill>
                  <a:srgbClr val="002060"/>
                </a:solidFill>
              </a:rPr>
              <a:t>Hüseyin GÜRER</a:t>
            </a:r>
            <a:r>
              <a:rPr lang="en-US" dirty="0" smtClean="0">
                <a:solidFill>
                  <a:srgbClr val="002060"/>
                </a:solidFill>
              </a:rPr>
              <a:t/>
            </a:r>
            <a:br>
              <a:rPr lang="en-US" dirty="0" smtClean="0">
                <a:solidFill>
                  <a:srgbClr val="002060"/>
                </a:solidFill>
              </a:rPr>
            </a:br>
            <a:r>
              <a:rPr lang="tr-TR" dirty="0" err="1" smtClean="0">
                <a:solidFill>
                  <a:schemeClr val="accent2"/>
                </a:solidFill>
              </a:rPr>
              <a:t>Deloitte</a:t>
            </a:r>
            <a:r>
              <a:rPr lang="tr-TR" dirty="0" smtClean="0">
                <a:solidFill>
                  <a:schemeClr val="accent2"/>
                </a:solidFill>
              </a:rPr>
              <a:t> Türkiye / CEO</a:t>
            </a:r>
            <a:endParaRPr lang="en-US" dirty="0" smtClean="0"/>
          </a:p>
        </p:txBody>
      </p:sp>
      <p:graphicFrame>
        <p:nvGraphicFramePr>
          <p:cNvPr id="180225" name="Rectangle 1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05" name="Title 1"/>
          <p:cNvSpPr>
            <a:spLocks noGrp="1"/>
          </p:cNvSpPr>
          <p:nvPr>
            <p:ph type="title"/>
          </p:nvPr>
        </p:nvSpPr>
        <p:spPr>
          <a:xfrm>
            <a:off x="396875" y="116632"/>
            <a:ext cx="8350250" cy="1296144"/>
          </a:xfrm>
        </p:spPr>
        <p:txBody>
          <a:bodyPr/>
          <a:lstStyle/>
          <a:p>
            <a:pPr algn="ctr" eaLnBrk="1" hangingPunct="1"/>
            <a:r>
              <a:rPr lang="tr-TR" sz="1800" dirty="0"/>
              <a:t/>
            </a:r>
            <a:br>
              <a:rPr lang="tr-TR" sz="1800" dirty="0"/>
            </a:br>
            <a:r>
              <a:rPr lang="tr-TR" sz="3200" dirty="0" smtClean="0">
                <a:solidFill>
                  <a:srgbClr val="C00000"/>
                </a:solidFill>
              </a:rPr>
              <a:t>Muhasebecilik Mesleğinde Uzmanlık Alanları-I</a:t>
            </a:r>
            <a:r>
              <a:rPr lang="tr-TR" sz="2400" dirty="0" smtClean="0">
                <a:solidFill>
                  <a:srgbClr val="C00000"/>
                </a:solidFill>
              </a:rPr>
              <a:t/>
            </a:r>
            <a:br>
              <a:rPr lang="tr-TR" sz="2400" dirty="0" smtClean="0">
                <a:solidFill>
                  <a:srgbClr val="C00000"/>
                </a:solidFill>
              </a:rPr>
            </a:br>
            <a:r>
              <a:rPr lang="tr-TR" sz="2400" dirty="0"/>
              <a:t/>
            </a:r>
            <a:br>
              <a:rPr lang="tr-TR" sz="2400" dirty="0"/>
            </a:b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 smtClean="0"/>
              <a:t/>
            </a:r>
            <a:br>
              <a:rPr lang="tr-TR" sz="2400" dirty="0" smtClean="0"/>
            </a:br>
            <a:endParaRPr lang="nl-NL" sz="1800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96875" y="1412776"/>
            <a:ext cx="8350250" cy="4897537"/>
          </a:xfrm>
        </p:spPr>
        <p:txBody>
          <a:bodyPr/>
          <a:lstStyle/>
          <a:p>
            <a:pPr marL="0" lvl="1" indent="0" defTabSz="957998" eaLnBrk="1" hangingPunct="1">
              <a:spcBef>
                <a:spcPts val="1344"/>
              </a:spcBef>
              <a:spcAft>
                <a:spcPts val="0"/>
              </a:spcAft>
              <a:buNone/>
              <a:defRPr/>
            </a:pPr>
            <a:endParaRPr lang="tr-TR" sz="800" dirty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Bağımsız Denetim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Vergi Hizmetler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Muhasebe Danışmanlığı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Finansal Raporlama Uzmanlığı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İç Kontrol ve İç Denetim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Bütçe, Planlama ve Finans Yönetimi</a:t>
            </a: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2400" dirty="0" smtClean="0"/>
          </a:p>
          <a:p>
            <a:pPr marL="374545" lvl="2" indent="-183542" defTabSz="957998" eaLnBrk="1" hangingPunct="1">
              <a:defRPr/>
            </a:pPr>
            <a:endParaRPr lang="en-GB" dirty="0" smtClean="0"/>
          </a:p>
          <a:p>
            <a:pPr marL="359623" indent="-359623" defTabSz="957998" eaLnBrk="1" hangingPunct="1">
              <a:buFont typeface="Arial" charset="0"/>
              <a:buNone/>
              <a:defRPr/>
            </a:pPr>
            <a:endParaRPr lang="en-GB" dirty="0"/>
          </a:p>
        </p:txBody>
      </p:sp>
      <p:sp>
        <p:nvSpPr>
          <p:cNvPr id="1224707" name="Slide Number Placeholder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957263"/>
            <a:fld id="{864C8F88-AD5D-4810-976E-13D3CCC75CB9}" type="slidenum">
              <a:rPr lang="en-US" smtClean="0"/>
              <a:pPr defTabSz="957263"/>
              <a:t>1</a:t>
            </a:fld>
            <a:endParaRPr lang="en-U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05" name="Title 1"/>
          <p:cNvSpPr>
            <a:spLocks noGrp="1"/>
          </p:cNvSpPr>
          <p:nvPr>
            <p:ph type="title"/>
          </p:nvPr>
        </p:nvSpPr>
        <p:spPr>
          <a:xfrm>
            <a:off x="396875" y="116632"/>
            <a:ext cx="8350250" cy="1296144"/>
          </a:xfrm>
        </p:spPr>
        <p:txBody>
          <a:bodyPr/>
          <a:lstStyle/>
          <a:p>
            <a:pPr algn="ctr" eaLnBrk="1" hangingPunct="1"/>
            <a:r>
              <a:rPr lang="tr-TR" sz="1800" dirty="0"/>
              <a:t/>
            </a:r>
            <a:br>
              <a:rPr lang="tr-TR" sz="1800" dirty="0"/>
            </a:br>
            <a:r>
              <a:rPr lang="tr-TR" sz="3200" dirty="0" smtClean="0">
                <a:solidFill>
                  <a:srgbClr val="C00000"/>
                </a:solidFill>
              </a:rPr>
              <a:t>Muhasebecilik Mesleğinde Uzmanlık Alanları-II</a:t>
            </a:r>
            <a:r>
              <a:rPr lang="tr-TR" sz="2400" dirty="0" smtClean="0">
                <a:solidFill>
                  <a:srgbClr val="C00000"/>
                </a:solidFill>
              </a:rPr>
              <a:t/>
            </a:r>
            <a:br>
              <a:rPr lang="tr-TR" sz="2400" dirty="0" smtClean="0">
                <a:solidFill>
                  <a:srgbClr val="C00000"/>
                </a:solidFill>
              </a:rPr>
            </a:br>
            <a:r>
              <a:rPr lang="tr-TR" sz="2400" dirty="0"/>
              <a:t/>
            </a:r>
            <a:br>
              <a:rPr lang="tr-TR" sz="2400" dirty="0"/>
            </a:b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 smtClean="0"/>
              <a:t/>
            </a:r>
            <a:br>
              <a:rPr lang="tr-TR" sz="2400" dirty="0" smtClean="0"/>
            </a:br>
            <a:endParaRPr lang="nl-NL" sz="1800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96875" y="1412776"/>
            <a:ext cx="8350250" cy="4897537"/>
          </a:xfrm>
        </p:spPr>
        <p:txBody>
          <a:bodyPr/>
          <a:lstStyle/>
          <a:p>
            <a:pPr marL="0" lvl="1" indent="0" defTabSz="957998" eaLnBrk="1" hangingPunct="1">
              <a:spcBef>
                <a:spcPts val="1344"/>
              </a:spcBef>
              <a:spcAft>
                <a:spcPts val="0"/>
              </a:spcAft>
              <a:buNone/>
              <a:defRPr/>
            </a:pPr>
            <a:endParaRPr lang="tr-TR" sz="800" dirty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Maliyet Muhasebes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Yönetim Muhasebes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Yönetim</a:t>
            </a:r>
            <a:r>
              <a:rPr lang="tr-TR" sz="2400" dirty="0" smtClean="0"/>
              <a:t> Danışmanlığı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Şirketlerde Devir, Bölünme ve Birleşme İşlemler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Değerleme Hizmetleri</a:t>
            </a: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Derecelendirme Hizmetler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2400" dirty="0" smtClean="0"/>
          </a:p>
          <a:p>
            <a:pPr marL="374545" lvl="2" indent="-183542" defTabSz="957998" eaLnBrk="1" hangingPunct="1">
              <a:defRPr/>
            </a:pPr>
            <a:endParaRPr lang="en-GB" dirty="0" smtClean="0"/>
          </a:p>
          <a:p>
            <a:pPr marL="359623" indent="-359623" defTabSz="957998" eaLnBrk="1" hangingPunct="1">
              <a:buFont typeface="Arial" charset="0"/>
              <a:buNone/>
              <a:defRPr/>
            </a:pPr>
            <a:endParaRPr lang="en-GB" dirty="0"/>
          </a:p>
        </p:txBody>
      </p:sp>
      <p:sp>
        <p:nvSpPr>
          <p:cNvPr id="1224707" name="Slide Number Placeholder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957263"/>
            <a:fld id="{864C8F88-AD5D-4810-976E-13D3CCC75CB9}" type="slidenum">
              <a:rPr lang="en-US" smtClean="0"/>
              <a:pPr defTabSz="957263"/>
              <a:t>2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9842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05" name="Title 1"/>
          <p:cNvSpPr>
            <a:spLocks noGrp="1"/>
          </p:cNvSpPr>
          <p:nvPr>
            <p:ph type="title"/>
          </p:nvPr>
        </p:nvSpPr>
        <p:spPr>
          <a:xfrm>
            <a:off x="396875" y="116632"/>
            <a:ext cx="8350250" cy="1296144"/>
          </a:xfrm>
        </p:spPr>
        <p:txBody>
          <a:bodyPr/>
          <a:lstStyle/>
          <a:p>
            <a:pPr algn="ctr" eaLnBrk="1" hangingPunct="1"/>
            <a:r>
              <a:rPr lang="tr-TR" sz="1800" dirty="0"/>
              <a:t/>
            </a:r>
            <a:br>
              <a:rPr lang="tr-TR" sz="1800" dirty="0"/>
            </a:br>
            <a:r>
              <a:rPr lang="tr-TR" sz="3200" dirty="0" smtClean="0">
                <a:solidFill>
                  <a:srgbClr val="C00000"/>
                </a:solidFill>
              </a:rPr>
              <a:t>Muhasebecilik Mesleğinde Uzmanlık Alanları-III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/>
              <a:t/>
            </a:r>
            <a:br>
              <a:rPr lang="tr-TR" sz="2400" dirty="0"/>
            </a:b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 smtClean="0"/>
              <a:t/>
            </a:r>
            <a:br>
              <a:rPr lang="tr-TR" sz="2400" dirty="0" smtClean="0"/>
            </a:br>
            <a:endParaRPr lang="nl-NL" sz="1800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96875" y="1412776"/>
            <a:ext cx="8350250" cy="4897537"/>
          </a:xfrm>
        </p:spPr>
        <p:txBody>
          <a:bodyPr/>
          <a:lstStyle/>
          <a:p>
            <a:pPr marL="0" lvl="1" indent="0" defTabSz="957998" eaLnBrk="1" hangingPunct="1">
              <a:spcBef>
                <a:spcPts val="1344"/>
              </a:spcBef>
              <a:spcAft>
                <a:spcPts val="0"/>
              </a:spcAft>
              <a:buNone/>
              <a:defRPr/>
            </a:pPr>
            <a:endParaRPr lang="tr-TR" sz="800" dirty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Kurumsal Yönetim / Risk Yönetimi</a:t>
            </a: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Borç Danışmanlığı / Borç Yeniden Yapılandırma Danışmanlığı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Finans Matematiği ve Uzmanlığı (Aktüerlik)</a:t>
            </a: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err="1" smtClean="0"/>
              <a:t>Suistimal</a:t>
            </a:r>
            <a:r>
              <a:rPr lang="tr-TR" sz="2400" dirty="0" smtClean="0"/>
              <a:t> İnceleme Uzmanlığı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Bağımsız Adli Muhasebecilik</a:t>
            </a: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0" lvl="1" indent="0" defTabSz="957998" eaLnBrk="1" hangingPunct="1">
              <a:spcBef>
                <a:spcPts val="1344"/>
              </a:spcBef>
              <a:spcAft>
                <a:spcPts val="0"/>
              </a:spcAft>
              <a:buNone/>
              <a:defRPr/>
            </a:pP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2400" dirty="0" smtClean="0"/>
          </a:p>
          <a:p>
            <a:pPr marL="374545" lvl="2" indent="-183542" defTabSz="957998" eaLnBrk="1" hangingPunct="1">
              <a:defRPr/>
            </a:pPr>
            <a:endParaRPr lang="en-GB" dirty="0" smtClean="0"/>
          </a:p>
          <a:p>
            <a:pPr marL="359623" indent="-359623" defTabSz="957998" eaLnBrk="1" hangingPunct="1">
              <a:buFont typeface="Arial" charset="0"/>
              <a:buNone/>
              <a:defRPr/>
            </a:pPr>
            <a:endParaRPr lang="en-GB" dirty="0"/>
          </a:p>
        </p:txBody>
      </p:sp>
      <p:sp>
        <p:nvSpPr>
          <p:cNvPr id="1224707" name="Slide Number Placeholder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957263"/>
            <a:fld id="{864C8F88-AD5D-4810-976E-13D3CCC75CB9}" type="slidenum">
              <a:rPr lang="en-US" smtClean="0"/>
              <a:pPr defTabSz="957263"/>
              <a:t>3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9842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05" name="Title 1"/>
          <p:cNvSpPr>
            <a:spLocks noGrp="1"/>
          </p:cNvSpPr>
          <p:nvPr>
            <p:ph type="title"/>
          </p:nvPr>
        </p:nvSpPr>
        <p:spPr>
          <a:xfrm>
            <a:off x="396875" y="116632"/>
            <a:ext cx="8350250" cy="1296144"/>
          </a:xfrm>
        </p:spPr>
        <p:txBody>
          <a:bodyPr/>
          <a:lstStyle/>
          <a:p>
            <a:pPr algn="ctr" eaLnBrk="1" hangingPunct="1"/>
            <a:r>
              <a:rPr lang="tr-TR" sz="1800" dirty="0"/>
              <a:t/>
            </a:r>
            <a:br>
              <a:rPr lang="tr-TR" sz="1800" dirty="0"/>
            </a:br>
            <a:r>
              <a:rPr lang="tr-TR" sz="3200" dirty="0" smtClean="0">
                <a:solidFill>
                  <a:srgbClr val="C00000"/>
                </a:solidFill>
              </a:rPr>
              <a:t>Muhasebecilik Mesleğinde Uzmanlık Alanları-IV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/>
              <a:t/>
            </a:r>
            <a:br>
              <a:rPr lang="tr-TR" sz="2400" dirty="0"/>
            </a:b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2400" dirty="0" smtClean="0"/>
              <a:t/>
            </a:r>
            <a:br>
              <a:rPr lang="tr-TR" sz="2400" dirty="0" smtClean="0"/>
            </a:br>
            <a:endParaRPr lang="nl-NL" sz="1800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96875" y="1412776"/>
            <a:ext cx="8350250" cy="4897537"/>
          </a:xfrm>
        </p:spPr>
        <p:txBody>
          <a:bodyPr/>
          <a:lstStyle/>
          <a:p>
            <a:pPr marL="0" lvl="1" indent="0" defTabSz="957998" eaLnBrk="1" hangingPunct="1">
              <a:spcBef>
                <a:spcPts val="1344"/>
              </a:spcBef>
              <a:spcAft>
                <a:spcPts val="0"/>
              </a:spcAft>
              <a:buNone/>
              <a:defRPr/>
            </a:pPr>
            <a:endParaRPr lang="tr-TR" sz="800" dirty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24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Bilgi Teknolojileri</a:t>
            </a:r>
            <a:r>
              <a:rPr lang="tr-TR" sz="2400" dirty="0" smtClean="0"/>
              <a:t> Denetim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r>
              <a:rPr lang="tr-TR" sz="2400" dirty="0" smtClean="0"/>
              <a:t>Karbon Muhasebesi ve Çevre Muhasebesi</a:t>
            </a:r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800" dirty="0" smtClean="0"/>
          </a:p>
          <a:p>
            <a:pPr marL="191002" lvl="1" indent="-191002" defTabSz="957998" eaLnBrk="1" hangingPunct="1">
              <a:spcBef>
                <a:spcPts val="1344"/>
              </a:spcBef>
              <a:spcAft>
                <a:spcPts val="0"/>
              </a:spcAft>
              <a:defRPr/>
            </a:pPr>
            <a:endParaRPr lang="tr-TR" sz="2400" dirty="0" smtClean="0"/>
          </a:p>
          <a:p>
            <a:pPr marL="374545" lvl="2" indent="-183542" defTabSz="957998" eaLnBrk="1" hangingPunct="1">
              <a:defRPr/>
            </a:pPr>
            <a:endParaRPr lang="en-GB" dirty="0" smtClean="0"/>
          </a:p>
          <a:p>
            <a:pPr marL="359623" indent="-359623" defTabSz="957998" eaLnBrk="1" hangingPunct="1">
              <a:buFont typeface="Arial" charset="0"/>
              <a:buNone/>
              <a:defRPr/>
            </a:pPr>
            <a:endParaRPr lang="en-GB" dirty="0"/>
          </a:p>
        </p:txBody>
      </p:sp>
      <p:sp>
        <p:nvSpPr>
          <p:cNvPr id="1224707" name="Slide Number Placeholder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957263"/>
            <a:fld id="{864C8F88-AD5D-4810-976E-13D3CCC75CB9}" type="slidenum">
              <a:rPr lang="en-US" smtClean="0"/>
              <a:pPr defTabSz="957263"/>
              <a:t>4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9842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4081" name="Picture 19" descr="DEL_PRI_RGB"/>
          <p:cNvPicPr>
            <a:picLocks noChangeAspect="1" noChangeArrowheads="1"/>
          </p:cNvPicPr>
          <p:nvPr/>
        </p:nvPicPr>
        <p:blipFill>
          <a:blip r:embed="rId3" cstate="print"/>
          <a:srcRect l="11237" t="27428" r="9845" b="25551"/>
          <a:stretch>
            <a:fillRect/>
          </a:stretch>
        </p:blipFill>
        <p:spPr bwMode="auto">
          <a:xfrm>
            <a:off x="312738" y="2928938"/>
            <a:ext cx="345122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12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Oq.n2k.fD6p.h.ka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HVo.lQwESsKd3JcLcc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cwp13ak.zAfh5OxeT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Ov3MqI4UithTjv06J1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byCJEbwUmT4YES55gf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Xlg757k0qU.090xQtL4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HGsM14DEOjTpxO2.uq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n2WeqkU.r3tCIjT1.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heme/theme1.xml><?xml version="1.0" encoding="utf-8"?>
<a:theme xmlns:a="http://schemas.openxmlformats.org/drawingml/2006/main" name="Timesaver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imesaver- PowerLibrary - 061909, NL</Template>
  <TotalTime>1371</TotalTime>
  <Words>80</Words>
  <Application>Microsoft Office PowerPoint</Application>
  <PresentationFormat>On-screen Show (4:3)</PresentationFormat>
  <Paragraphs>58</Paragraphs>
  <Slides>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Timesaver- PowerLibrary - 061909, NL</vt:lpstr>
      <vt:lpstr>think-cell Slide</vt:lpstr>
      <vt:lpstr> MUHASEBECİLİK MESLEĞİNİN UZMANLIK ALANLARI  &amp;  TÜRKİYE UYGULAMALARI    Hüseyin GÜRER Deloitte Türkiye / CEO</vt:lpstr>
      <vt:lpstr> Muhasebecilik Mesleğinde Uzmanlık Alanları-I    </vt:lpstr>
      <vt:lpstr> Muhasebecilik Mesleğinde Uzmanlık Alanları-II    </vt:lpstr>
      <vt:lpstr> Muhasebecilik Mesleğinde Uzmanlık Alanları-III    </vt:lpstr>
      <vt:lpstr> Muhasebecilik Mesleğinde Uzmanlık Alanları-IV    </vt:lpstr>
      <vt:lpstr>PowerPoint Presentation</vt:lpstr>
    </vt:vector>
  </TitlesOfParts>
  <Company>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imesaver Better charts, tables, and diagrams for better reports and presentations</dc:title>
  <dc:creator>gbayram</dc:creator>
  <cp:lastModifiedBy>BKP, TR (TR - Istanbul)</cp:lastModifiedBy>
  <cp:revision>53</cp:revision>
  <cp:lastPrinted>2013-09-23T08:06:20Z</cp:lastPrinted>
  <dcterms:created xsi:type="dcterms:W3CDTF">2009-06-26T11:02:10Z</dcterms:created>
  <dcterms:modified xsi:type="dcterms:W3CDTF">2014-09-18T05:32:16Z</dcterms:modified>
</cp:coreProperties>
</file>